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905" r:id="rId1"/>
  </p:sldMasterIdLst>
  <p:notesMasterIdLst>
    <p:notesMasterId r:id="rId17"/>
  </p:notesMasterIdLst>
  <p:handoutMasterIdLst>
    <p:handoutMasterId r:id="rId18"/>
  </p:handoutMasterIdLst>
  <p:sldIdLst>
    <p:sldId id="279" r:id="rId2"/>
    <p:sldId id="294" r:id="rId3"/>
    <p:sldId id="295" r:id="rId4"/>
    <p:sldId id="296" r:id="rId5"/>
    <p:sldId id="297" r:id="rId6"/>
    <p:sldId id="298" r:id="rId7"/>
    <p:sldId id="299" r:id="rId8"/>
    <p:sldId id="300" r:id="rId9"/>
    <p:sldId id="301" r:id="rId10"/>
    <p:sldId id="302" r:id="rId11"/>
    <p:sldId id="303" r:id="rId12"/>
    <p:sldId id="304" r:id="rId13"/>
    <p:sldId id="305" r:id="rId14"/>
    <p:sldId id="306" r:id="rId15"/>
    <p:sldId id="307" r:id="rId16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29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745">
          <p15:clr>
            <a:srgbClr val="A4A3A4"/>
          </p15:clr>
        </p15:guide>
        <p15:guide id="4" orient="horz" pos="1207">
          <p15:clr>
            <a:srgbClr val="A4A3A4"/>
          </p15:clr>
        </p15:guide>
        <p15:guide id="5" orient="horz" pos="1362">
          <p15:clr>
            <a:srgbClr val="A4A3A4"/>
          </p15:clr>
        </p15:guide>
        <p15:guide id="6" pos="5511">
          <p15:clr>
            <a:srgbClr val="A4A3A4"/>
          </p15:clr>
        </p15:guide>
        <p15:guide id="7" pos="3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CC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247" autoAdjust="0"/>
    <p:restoredTop sz="95833" autoAdjust="0"/>
  </p:normalViewPr>
  <p:slideViewPr>
    <p:cSldViewPr>
      <p:cViewPr>
        <p:scale>
          <a:sx n="76" d="100"/>
          <a:sy n="76" d="100"/>
        </p:scale>
        <p:origin x="-960" y="198"/>
      </p:cViewPr>
      <p:guideLst>
        <p:guide orient="horz" pos="3929"/>
        <p:guide orient="horz" pos="2160"/>
        <p:guide orient="horz" pos="745"/>
        <p:guide orient="horz" pos="1207"/>
        <p:guide orient="horz" pos="1362"/>
        <p:guide pos="5511"/>
        <p:guide pos="3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C3FBA-C2CB-4F7F-9E33-C95742007928}" type="datetimeFigureOut">
              <a:rPr lang="de-DE" smtClean="0"/>
              <a:pPr/>
              <a:t>16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8459E5-D9FE-417D-8401-BFD1559A88E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4428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E7784C-52E0-4090-9459-59EE88C33906}" type="datetimeFigureOut">
              <a:rPr lang="de-DE" smtClean="0"/>
              <a:pPr/>
              <a:t>16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E8BDF-359D-4D52-8CC3-51C211D3A0A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7176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png"/><Relationship Id="rId4" Type="http://schemas.openxmlformats.org/officeDocument/2006/relationships/tags" Target="../tags/tag8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B3F50-3400-8748-8D93-65B42F3ED2B6}" type="datetimeFigureOut">
              <a:rPr lang="de-DE" smtClean="0"/>
              <a:pPr/>
              <a:t>16.05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66A27-BEA7-8B4B-8240-CC6DB70B77A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="" xmlns:a16="http://schemas.microsoft.com/office/drawing/2014/main" id="{01ED2431-73E8-7043-AED7-C555834D083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78645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619E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="" xmlns:a16="http://schemas.microsoft.com/office/drawing/2014/main" id="{AD029403-A295-9746-A352-0FD691BB51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5805264"/>
            <a:ext cx="9144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619E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9" name="Grafik 8" descr="LogoSeitenstark_rgb (2).png">
            <a:extLst>
              <a:ext uri="{FF2B5EF4-FFF2-40B4-BE49-F238E27FC236}">
                <a16:creationId xmlns="" xmlns:a16="http://schemas.microsoft.com/office/drawing/2014/main" id="{540EFE6C-010D-9C4F-AA0E-642CCFF833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736418" y="6000768"/>
            <a:ext cx="1193300" cy="71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396900"/>
      </p:ext>
    </p:extLst>
  </p:cSld>
  <p:clrMapOvr>
    <a:masterClrMapping/>
  </p:clrMapOvr>
  <p:transition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289038"/>
      </p:ext>
    </p:extLst>
  </p:cSld>
  <p:clrMapOvr>
    <a:masterClrMapping/>
  </p:clrMapOvr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153204"/>
      </p:ext>
    </p:extLst>
  </p:cSld>
  <p:clrMapOvr>
    <a:masterClrMapping/>
  </p:clrMapOvr>
  <p:hf sldNum="0"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770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080000" y="2022743"/>
            <a:ext cx="7560000" cy="900000"/>
          </a:xfrm>
        </p:spPr>
        <p:txBody>
          <a:bodyPr anchor="b" anchorCtr="0"/>
          <a:lstStyle>
            <a:lvl1pPr algn="l">
              <a:defRPr sz="2800" b="0" cap="none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Zwischenfolie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080000" y="3852000"/>
            <a:ext cx="6192838" cy="1800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1980000"/>
            <a:ext cx="540000" cy="18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1A440FD-A283-4FB5-B5B6-50CD3D756F9C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4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085076"/>
      </p:ext>
    </p:extLst>
  </p:cSld>
  <p:clrMapOvr>
    <a:masterClrMapping/>
  </p:clrMapOvr>
  <p:transition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552" y="1908000"/>
            <a:ext cx="3960000" cy="639762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88000" y="1908000"/>
            <a:ext cx="3960000" cy="639762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2628000"/>
            <a:ext cx="3960000" cy="360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  <a:lvl3pPr>
              <a:buClr>
                <a:srgbClr val="CFCC4F"/>
              </a:buClr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4788000" y="2628001"/>
            <a:ext cx="3960000" cy="360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1170000"/>
            <a:ext cx="6120482" cy="360000"/>
          </a:xfrm>
        </p:spPr>
        <p:txBody>
          <a:bodyPr>
            <a:noAutofit/>
          </a:bodyPr>
          <a:lstStyle>
            <a:lvl1pPr marL="0" indent="0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5C151A8-53D7-4A95-BBA2-AF8A42C40CF1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464052"/>
      </p:ext>
    </p:extLst>
  </p:cSld>
  <p:clrMapOvr>
    <a:masterClrMapping/>
  </p:clrMapOvr>
  <p:transition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579488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619E">
                  <a:lumMod val="60000"/>
                  <a:lumOff val="40000"/>
                </a:srgbClr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84943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>
            <p:custDataLst>
              <p:tags r:id="rId4"/>
            </p:custDataLst>
          </p:nvPr>
        </p:nvSpPr>
        <p:spPr>
          <a:xfrm>
            <a:off x="0" y="5805264"/>
            <a:ext cx="9144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080000" y="3204000"/>
            <a:ext cx="6588344" cy="276999"/>
          </a:xfrm>
        </p:spPr>
        <p:txBody>
          <a:bodyPr>
            <a:spAutoFit/>
          </a:bodyPr>
          <a:lstStyle>
            <a:lvl1pPr marL="0" indent="0" algn="l">
              <a:buNone/>
              <a:defRPr sz="180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utor, Kontakt durch Klicken bearbeiten</a:t>
            </a:r>
          </a:p>
        </p:txBody>
      </p:sp>
      <p:sp>
        <p:nvSpPr>
          <p:cNvPr id="13" name="Textfeld 12"/>
          <p:cNvSpPr txBox="1"/>
          <p:nvPr userDrawn="1">
            <p:custDataLst>
              <p:tags r:id="rId6"/>
            </p:custDataLst>
          </p:nvPr>
        </p:nvSpPr>
        <p:spPr>
          <a:xfrm>
            <a:off x="1080000" y="2071160"/>
            <a:ext cx="7492528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Vielen Dank für Ihre Aufmerksamkeit!</a:t>
            </a:r>
          </a:p>
        </p:txBody>
      </p:sp>
      <p:pic>
        <p:nvPicPr>
          <p:cNvPr id="15" name="Grafik 14" descr="LogoSeitenstark_rgb (2)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736418" y="6000768"/>
            <a:ext cx="1193300" cy="71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18093"/>
      </p:ext>
    </p:extLst>
  </p:cSld>
  <p:clrMapOvr>
    <a:masterClrMapping/>
  </p:clrMapOvr>
  <p:transition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838939"/>
      </p:ext>
    </p:extLst>
  </p:cSld>
  <p:clrMapOvr>
    <a:masterClrMapping/>
  </p:clrMapOvr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576949"/>
      </p:ext>
    </p:extLst>
  </p:cSld>
  <p:clrMapOvr>
    <a:masterClrMapping/>
  </p:clrMapOvr>
  <p:hf sldNum="0"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763727"/>
      </p:ext>
    </p:extLst>
  </p:cSld>
  <p:clrMapOvr>
    <a:masterClrMapping/>
  </p:clrMapOvr>
  <p:hf sldNum="0"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723211"/>
      </p:ext>
    </p:extLst>
  </p:cSld>
  <p:clrMapOvr>
    <a:masterClrMapping/>
  </p:clrMapOvr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09689"/>
      </p:ext>
    </p:extLst>
  </p:cSld>
  <p:clrMapOvr>
    <a:masterClrMapping/>
  </p:clrMapOvr>
  <p:hf sldNum="0"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785722"/>
      </p:ext>
    </p:extLst>
  </p:cSld>
  <p:clrMapOvr>
    <a:masterClrMapping/>
  </p:clrMapOvr>
  <p:hf sldNum="0"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269464"/>
      </p:ext>
    </p:extLst>
  </p:cSld>
  <p:clrMapOvr>
    <a:masterClrMapping/>
  </p:clrMapOvr>
  <p:hf sldNum="0"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6.05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015451"/>
      </p:ext>
    </p:extLst>
  </p:cSld>
  <p:clrMapOvr>
    <a:masterClrMapping/>
  </p:clrMapOvr>
  <p:hf sldNum="0"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E1A5D5-E222-43E2-ABCF-114DA7C4A928}" type="datetime1">
              <a:rPr lang="de-DE" smtClean="0"/>
              <a:pPr/>
              <a:t>16.05.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ußzei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CF4C1-09A2-482B-8059-9115630C7FE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 descr="LogoSeitenstark_rgb (2).png">
            <a:extLst>
              <a:ext uri="{FF2B5EF4-FFF2-40B4-BE49-F238E27FC236}">
                <a16:creationId xmlns="" xmlns:a16="http://schemas.microsoft.com/office/drawing/2014/main" id="{21940A43-E629-A940-937D-BC80F5C33685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6929454" y="428604"/>
            <a:ext cx="1792076" cy="10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09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890" r:id="rId12"/>
    <p:sldLayoutId id="2147483891" r:id="rId13"/>
    <p:sldLayoutId id="2147483892" r:id="rId14"/>
  </p:sldLayoutIdLst>
  <p:transition>
    <p:wipe/>
  </p:transition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hyperlink" Target="https://seitenstark.de/kinder/internet/charlie-clips/charlie-und-die-magische-landkarte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17795" y="388307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3200" b="1" dirty="0">
              <a:solidFill>
                <a:schemeClr val="tx1"/>
              </a:solidFill>
            </a:endParaRPr>
          </a:p>
          <a:p>
            <a:pPr algn="ctr"/>
            <a:r>
              <a:rPr lang="de-DE" sz="3200" b="1" dirty="0">
                <a:solidFill>
                  <a:schemeClr val="tx1"/>
                </a:solidFill>
              </a:rPr>
              <a:t> "Abenteuerreise in die Kinderseitenwelt</a:t>
            </a:r>
            <a:r>
              <a:rPr lang="de-DE" sz="3200" b="1" dirty="0" smtClean="0">
                <a:solidFill>
                  <a:schemeClr val="tx1"/>
                </a:solidFill>
              </a:rPr>
              <a:t>"</a:t>
            </a:r>
            <a:r>
              <a:rPr lang="de-DE" sz="2000" b="1" dirty="0" smtClean="0">
                <a:solidFill>
                  <a:schemeClr val="tx1"/>
                </a:solidFill>
              </a:rPr>
              <a:t>  </a:t>
            </a:r>
            <a:endParaRPr lang="de-DE" sz="2000" b="1" dirty="0"/>
          </a:p>
        </p:txBody>
      </p:sp>
      <p:pic>
        <p:nvPicPr>
          <p:cNvPr id="24578" name="Grafik 1" descr="BMFSFJ_2017_Office_Farbe_d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6021288"/>
            <a:ext cx="12192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7" name="Grafik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95" y="6021288"/>
            <a:ext cx="781050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26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="" xmlns:a16="http://schemas.microsoft.com/office/drawing/2014/main" id="{0232E9BB-9890-904B-A666-FFA34BB1CB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051679"/>
            <a:ext cx="6326564" cy="5530575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l"/>
            <a:r>
              <a:rPr lang="de-DE" sz="4000" b="1" dirty="0" smtClean="0">
                <a:solidFill>
                  <a:schemeClr val="tx1"/>
                </a:solidFill>
              </a:rPr>
              <a:t>AUSRÜSTUNG:</a:t>
            </a:r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="" xmlns:a16="http://schemas.microsoft.com/office/drawing/2014/main" id="{4DDFFD9B-0129-5A49-87F9-CDCB387DF811}"/>
              </a:ext>
            </a:extLst>
          </p:cNvPr>
          <p:cNvSpPr txBox="1"/>
          <p:nvPr/>
        </p:nvSpPr>
        <p:spPr>
          <a:xfrm>
            <a:off x="324850" y="644259"/>
            <a:ext cx="5755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Chalkduster" panose="03050602040202020205" pitchFamily="66" charset="77"/>
              </a:rPr>
              <a:t>Was </a:t>
            </a:r>
            <a:r>
              <a:rPr lang="de-DE" dirty="0" smtClean="0">
                <a:latin typeface="Chalkduster" panose="03050602040202020205" pitchFamily="66" charset="77"/>
              </a:rPr>
              <a:t>brauchst du </a:t>
            </a:r>
            <a:r>
              <a:rPr lang="de-DE" dirty="0">
                <a:latin typeface="Chalkduster" panose="03050602040202020205" pitchFamily="66" charset="77"/>
              </a:rPr>
              <a:t>für </a:t>
            </a:r>
            <a:r>
              <a:rPr lang="de-DE" dirty="0" smtClean="0">
                <a:latin typeface="Chalkduster" panose="03050602040202020205" pitchFamily="66" charset="77"/>
              </a:rPr>
              <a:t>deine Online-Abenteuerreise?</a:t>
            </a:r>
            <a:endParaRPr lang="de-DE" dirty="0">
              <a:latin typeface="Chalkduster" panose="03050602040202020205" pitchFamily="66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406043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pic>
        <p:nvPicPr>
          <p:cNvPr id="2" name="Grafik 1">
            <a:hlinkClick r:id="rId2"/>
            <a:extLst>
              <a:ext uri="{FF2B5EF4-FFF2-40B4-BE49-F238E27FC236}">
                <a16:creationId xmlns="" xmlns:a16="http://schemas.microsoft.com/office/drawing/2014/main" id="{FCF1154C-FCEA-9E49-A676-D772432A302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92080" y="3212976"/>
            <a:ext cx="3175000" cy="20701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="" xmlns:a16="http://schemas.microsoft.com/office/drawing/2014/main" id="{A992B3D2-A1C2-E64C-B003-23154536065A}"/>
              </a:ext>
            </a:extLst>
          </p:cNvPr>
          <p:cNvSpPr txBox="1"/>
          <p:nvPr/>
        </p:nvSpPr>
        <p:spPr>
          <a:xfrm rot="20617940">
            <a:off x="850048" y="1734086"/>
            <a:ext cx="547778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dirty="0">
                <a:latin typeface="Chalkduster" panose="03050602040202020205" pitchFamily="66" charset="77"/>
              </a:rPr>
              <a:t>Charlie </a:t>
            </a: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und die magische </a:t>
            </a:r>
            <a:r>
              <a:rPr lang="de-DE" sz="3200" dirty="0" smtClean="0">
                <a:latin typeface="Chalkduster" panose="03050602040202020205" pitchFamily="66" charset="77"/>
              </a:rPr>
              <a:t>Landkarte</a:t>
            </a:r>
          </a:p>
          <a:p>
            <a:pPr algn="ctr"/>
            <a:endParaRPr lang="de-DE" sz="3200" dirty="0">
              <a:latin typeface="Chalkduster" panose="03050602040202020205" pitchFamily="66" charset="77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411760" y="5373216"/>
            <a:ext cx="6085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https://seitenstark.de/kinder/internet/charlie-clips/charlie-und-die-magische-landkarte</a:t>
            </a:r>
            <a:endParaRPr lang="de-DE" sz="12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168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2876AC10-443E-0649-9713-E7F9999B7360}"/>
              </a:ext>
            </a:extLst>
          </p:cNvPr>
          <p:cNvSpPr txBox="1"/>
          <p:nvPr/>
        </p:nvSpPr>
        <p:spPr>
          <a:xfrm rot="20929368">
            <a:off x="1680070" y="2443080"/>
            <a:ext cx="54393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>
                <a:latin typeface="Chalkduster" panose="03050602040202020205" pitchFamily="66" charset="77"/>
              </a:rPr>
              <a:t>Das </a:t>
            </a:r>
            <a:r>
              <a:rPr lang="de-DE" sz="4400" dirty="0" smtClean="0">
                <a:latin typeface="Chalkduster" panose="03050602040202020205" pitchFamily="66" charset="77"/>
              </a:rPr>
              <a:t>Stationen-Spiel</a:t>
            </a:r>
            <a:endParaRPr lang="de-DE" sz="4400" dirty="0">
              <a:latin typeface="Chalkduster" panose="03050602040202020205" pitchFamily="66" charset="77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079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12E0EEF1-C2DE-1042-AF47-DBFEF5CE4060}"/>
              </a:ext>
            </a:extLst>
          </p:cNvPr>
          <p:cNvSpPr txBox="1"/>
          <p:nvPr/>
        </p:nvSpPr>
        <p:spPr>
          <a:xfrm rot="20766676">
            <a:off x="486837" y="2740568"/>
            <a:ext cx="840730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latin typeface="Chalkduster" panose="03050602040202020205" pitchFamily="66" charset="77"/>
              </a:rPr>
              <a:t>Kinderseiten vs. Erwachsenenseiten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58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548680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="" xmlns:a16="http://schemas.microsoft.com/office/drawing/2014/main" id="{CD1694BB-CFBA-D442-9026-9BBD15E62F3E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11264" y="1372572"/>
            <a:ext cx="2174090" cy="181374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="" xmlns:a16="http://schemas.microsoft.com/office/drawing/2014/main" id="{64AF1971-ED88-5842-ACA5-6F30861F006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94236" y="1372572"/>
            <a:ext cx="2012492" cy="167893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="" xmlns:a16="http://schemas.microsoft.com/office/drawing/2014/main" id="{C428D3DE-D6D5-EF40-B8EE-D5C41D9279C1}"/>
              </a:ext>
            </a:extLst>
          </p:cNvPr>
          <p:cNvSpPr txBox="1"/>
          <p:nvPr/>
        </p:nvSpPr>
        <p:spPr>
          <a:xfrm>
            <a:off x="5868144" y="3123510"/>
            <a:ext cx="204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Was ich gerne hätt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="" xmlns:a16="http://schemas.microsoft.com/office/drawing/2014/main" id="{021BD037-64CF-2C4C-A881-EC4A28E7F321}"/>
              </a:ext>
            </a:extLst>
          </p:cNvPr>
          <p:cNvSpPr txBox="1"/>
          <p:nvPr/>
        </p:nvSpPr>
        <p:spPr>
          <a:xfrm>
            <a:off x="1020191" y="3159249"/>
            <a:ext cx="2624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Was mich stört und ärgert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="" xmlns:a16="http://schemas.microsoft.com/office/drawing/2014/main" id="{A05749EC-6287-C648-96BE-F13C95A3D464}"/>
              </a:ext>
            </a:extLst>
          </p:cNvPr>
          <p:cNvCxnSpPr/>
          <p:nvPr/>
        </p:nvCxnSpPr>
        <p:spPr>
          <a:xfrm>
            <a:off x="1020191" y="407707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="" xmlns:a16="http://schemas.microsoft.com/office/drawing/2014/main" id="{CB45C56E-0799-AB4B-B160-B56EA8B2BB1A}"/>
              </a:ext>
            </a:extLst>
          </p:cNvPr>
          <p:cNvCxnSpPr/>
          <p:nvPr/>
        </p:nvCxnSpPr>
        <p:spPr>
          <a:xfrm>
            <a:off x="1011264" y="443711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="" xmlns:a16="http://schemas.microsoft.com/office/drawing/2014/main" id="{D8AB9AA4-9F0F-D141-AB49-B2DCF6D59A02}"/>
              </a:ext>
            </a:extLst>
          </p:cNvPr>
          <p:cNvCxnSpPr/>
          <p:nvPr/>
        </p:nvCxnSpPr>
        <p:spPr>
          <a:xfrm>
            <a:off x="1011263" y="479715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="" xmlns:a16="http://schemas.microsoft.com/office/drawing/2014/main" id="{B9EAD9E6-032B-A84F-BA62-4AC2B1624984}"/>
              </a:ext>
            </a:extLst>
          </p:cNvPr>
          <p:cNvCxnSpPr/>
          <p:nvPr/>
        </p:nvCxnSpPr>
        <p:spPr>
          <a:xfrm>
            <a:off x="1011262" y="515719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="" xmlns:a16="http://schemas.microsoft.com/office/drawing/2014/main" id="{3F8E20A8-06F1-204D-B435-2D4BFC37AC7F}"/>
              </a:ext>
            </a:extLst>
          </p:cNvPr>
          <p:cNvCxnSpPr/>
          <p:nvPr/>
        </p:nvCxnSpPr>
        <p:spPr>
          <a:xfrm>
            <a:off x="5554228" y="407707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="" xmlns:a16="http://schemas.microsoft.com/office/drawing/2014/main" id="{778220B8-5C02-8B49-AF7C-6E6555122114}"/>
              </a:ext>
            </a:extLst>
          </p:cNvPr>
          <p:cNvCxnSpPr/>
          <p:nvPr/>
        </p:nvCxnSpPr>
        <p:spPr>
          <a:xfrm>
            <a:off x="5554227" y="443711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="" xmlns:a16="http://schemas.microsoft.com/office/drawing/2014/main" id="{D4B3E02B-A2E6-C345-9F0E-19CC9010C75F}"/>
              </a:ext>
            </a:extLst>
          </p:cNvPr>
          <p:cNvCxnSpPr/>
          <p:nvPr/>
        </p:nvCxnSpPr>
        <p:spPr>
          <a:xfrm>
            <a:off x="5554226" y="4753882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="" xmlns:a16="http://schemas.microsoft.com/office/drawing/2014/main" id="{4C594153-B889-E54C-8B51-615F50D7F257}"/>
              </a:ext>
            </a:extLst>
          </p:cNvPr>
          <p:cNvCxnSpPr/>
          <p:nvPr/>
        </p:nvCxnSpPr>
        <p:spPr>
          <a:xfrm>
            <a:off x="5554225" y="5130548"/>
            <a:ext cx="25687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99592" y="404664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smtClean="0"/>
              <a:t>Das Internet für Kinder?!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2250814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F1EB7737-7E3E-7B42-A836-CF4E8DB3D029}"/>
              </a:ext>
            </a:extLst>
          </p:cNvPr>
          <p:cNvSpPr txBox="1"/>
          <p:nvPr/>
        </p:nvSpPr>
        <p:spPr>
          <a:xfrm rot="20816095">
            <a:off x="417187" y="1692864"/>
            <a:ext cx="835487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 smtClean="0">
                <a:latin typeface="Chalkduster" panose="03050602040202020205" pitchFamily="66" charset="77"/>
              </a:rPr>
              <a:t>Danke </a:t>
            </a:r>
            <a:r>
              <a:rPr lang="de-DE" sz="2800" dirty="0">
                <a:latin typeface="Chalkduster" panose="03050602040202020205" pitchFamily="66" charset="77"/>
              </a:rPr>
              <a:t>für Euer tolles </a:t>
            </a:r>
            <a:r>
              <a:rPr lang="de-DE" sz="2800" dirty="0" smtClean="0">
                <a:latin typeface="Chalkduster" panose="03050602040202020205" pitchFamily="66" charset="77"/>
              </a:rPr>
              <a:t>Mitwirken</a:t>
            </a:r>
            <a:endParaRPr lang="de-DE" sz="2800" dirty="0">
              <a:latin typeface="Chalkduster" panose="03050602040202020205" pitchFamily="66" charset="77"/>
            </a:endParaRPr>
          </a:p>
          <a:p>
            <a:endParaRPr lang="de-DE" sz="2800" dirty="0">
              <a:latin typeface="Chalkduster" panose="03050602040202020205" pitchFamily="66" charset="77"/>
            </a:endParaRPr>
          </a:p>
          <a:p>
            <a:r>
              <a:rPr lang="de-DE" sz="2800" dirty="0">
                <a:latin typeface="Chalkduster" panose="03050602040202020205" pitchFamily="66" charset="77"/>
              </a:rPr>
              <a:t> </a:t>
            </a:r>
            <a:r>
              <a:rPr lang="de-DE" sz="2800" dirty="0" smtClean="0">
                <a:latin typeface="Chalkduster" panose="03050602040202020205" pitchFamily="66" charset="77"/>
              </a:rPr>
              <a:t>und </a:t>
            </a:r>
            <a:r>
              <a:rPr lang="de-DE" sz="2800" dirty="0">
                <a:latin typeface="Chalkduster" panose="03050602040202020205" pitchFamily="66" charset="77"/>
              </a:rPr>
              <a:t>viel Spaß in der Welt der Kinderseiten</a:t>
            </a:r>
            <a:r>
              <a:rPr lang="de-DE" sz="2800" dirty="0" smtClean="0">
                <a:latin typeface="Chalkduster" panose="03050602040202020205" pitchFamily="66" charset="77"/>
              </a:rPr>
              <a:t>!</a:t>
            </a:r>
          </a:p>
          <a:p>
            <a:endParaRPr lang="de-DE" sz="2800" dirty="0" smtClean="0">
              <a:latin typeface="Chalkduster" panose="03050602040202020205" pitchFamily="66" charset="77"/>
            </a:endParaRPr>
          </a:p>
          <a:p>
            <a:r>
              <a:rPr lang="de-DE" sz="2800" dirty="0" smtClean="0">
                <a:latin typeface="Chalkduster" panose="03050602040202020205" pitchFamily="66" charset="77"/>
              </a:rPr>
              <a:t>Freier Eintritt jederzeit über </a:t>
            </a:r>
          </a:p>
          <a:p>
            <a:r>
              <a:rPr lang="de-DE" sz="2800" dirty="0" smtClean="0">
                <a:latin typeface="Chalkduster" panose="03050602040202020205" pitchFamily="66" charset="77"/>
              </a:rPr>
              <a:t>www.SEITENSTARK.de</a:t>
            </a:r>
            <a:endParaRPr lang="de-DE" sz="2800" dirty="0">
              <a:latin typeface="Chalkduster" panose="03050602040202020205" pitchFamily="66" charset="77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168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7B3462A1-9795-CB45-AE3F-FF2ADB9FAEA3}"/>
              </a:ext>
            </a:extLst>
          </p:cNvPr>
          <p:cNvSpPr txBox="1"/>
          <p:nvPr/>
        </p:nvSpPr>
        <p:spPr>
          <a:xfrm rot="21110518">
            <a:off x="1384408" y="2497883"/>
            <a:ext cx="65527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latin typeface="Chalkduster" panose="03050602040202020205" pitchFamily="66" charset="77"/>
              </a:rPr>
              <a:t>Das Ecken-Spiel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005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8225FC31-86E8-BE40-A8E7-5E066376C9D7}"/>
              </a:ext>
            </a:extLst>
          </p:cNvPr>
          <p:cNvSpPr txBox="1"/>
          <p:nvPr/>
        </p:nvSpPr>
        <p:spPr>
          <a:xfrm>
            <a:off x="2572079" y="2248126"/>
            <a:ext cx="402225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de-DE" sz="3200" u="sng" dirty="0" smtClean="0">
                <a:latin typeface="Chalkduster" panose="03050602040202020205" pitchFamily="66" charset="77"/>
              </a:rPr>
              <a:t>1. Stichwort</a:t>
            </a:r>
            <a:r>
              <a:rPr lang="de-DE" sz="3200" u="sng" dirty="0">
                <a:latin typeface="Chalkduster" panose="03050602040202020205" pitchFamily="66" charset="77"/>
              </a:rPr>
              <a:t>:</a:t>
            </a:r>
          </a:p>
          <a:p>
            <a:pPr marL="342900" indent="-342900" algn="ctr">
              <a:buAutoNum type="arabicPeriod"/>
            </a:pPr>
            <a:endParaRPr lang="de-DE" sz="3200" dirty="0">
              <a:latin typeface="Chalkduster" panose="03050602040202020205" pitchFamily="66" charset="77"/>
            </a:endParaRP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Kindersuchmasch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559337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E515D760-15CC-8C4D-95D7-1CC9C4DC564F}"/>
              </a:ext>
            </a:extLst>
          </p:cNvPr>
          <p:cNvSpPr txBox="1"/>
          <p:nvPr/>
        </p:nvSpPr>
        <p:spPr>
          <a:xfrm>
            <a:off x="1760074" y="2248126"/>
            <a:ext cx="580139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u="sng" dirty="0">
                <a:latin typeface="Chalkduster" panose="03050602040202020205" pitchFamily="66" charset="77"/>
              </a:rPr>
              <a:t>2. Stichwort:</a:t>
            </a:r>
          </a:p>
          <a:p>
            <a:pPr algn="ctr"/>
            <a:endParaRPr lang="de-DE" sz="3200" dirty="0">
              <a:latin typeface="Chalkduster" panose="03050602040202020205" pitchFamily="66" charset="77"/>
            </a:endParaRP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Kindernachrichtenseiten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08337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C07309E4-5225-8C4F-9ADF-8888992B25D6}"/>
              </a:ext>
            </a:extLst>
          </p:cNvPr>
          <p:cNvSpPr txBox="1"/>
          <p:nvPr/>
        </p:nvSpPr>
        <p:spPr>
          <a:xfrm>
            <a:off x="2710077" y="2248126"/>
            <a:ext cx="390138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u="sng" dirty="0">
                <a:latin typeface="Chalkduster" panose="03050602040202020205" pitchFamily="66" charset="77"/>
              </a:rPr>
              <a:t>3. Stichwort:</a:t>
            </a:r>
          </a:p>
          <a:p>
            <a:pPr algn="ctr"/>
            <a:endParaRPr lang="de-DE" sz="3200" dirty="0">
              <a:latin typeface="Chalkduster" panose="03050602040202020205" pitchFamily="66" charset="77"/>
            </a:endParaRP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Lieblingswebsit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09625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8F9172B9-7978-864B-B177-0FC6DE831BD2}"/>
              </a:ext>
            </a:extLst>
          </p:cNvPr>
          <p:cNvSpPr txBox="1"/>
          <p:nvPr/>
        </p:nvSpPr>
        <p:spPr>
          <a:xfrm>
            <a:off x="1225977" y="2001904"/>
            <a:ext cx="686958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u="sng" dirty="0">
                <a:latin typeface="Chalkduster" panose="03050602040202020205" pitchFamily="66" charset="77"/>
              </a:rPr>
              <a:t>Frage:</a:t>
            </a:r>
          </a:p>
          <a:p>
            <a:pPr algn="ctr"/>
            <a:endParaRPr lang="de-DE" sz="3200" dirty="0">
              <a:latin typeface="Chalkduster" panose="03050602040202020205" pitchFamily="66" charset="77"/>
            </a:endParaRP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Hast du schon einmal </a:t>
            </a: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Fotos ins Netz gestellt?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6235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D27F6B9A-EF33-1947-8F62-C42C3EBA0AC0}"/>
              </a:ext>
            </a:extLst>
          </p:cNvPr>
          <p:cNvSpPr txBox="1"/>
          <p:nvPr/>
        </p:nvSpPr>
        <p:spPr>
          <a:xfrm>
            <a:off x="1225977" y="2001904"/>
            <a:ext cx="686958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u="sng" dirty="0">
                <a:latin typeface="Chalkduster" panose="03050602040202020205" pitchFamily="66" charset="77"/>
              </a:rPr>
              <a:t>Frage:</a:t>
            </a:r>
          </a:p>
          <a:p>
            <a:pPr algn="ctr"/>
            <a:endParaRPr lang="de-DE" sz="3200" dirty="0">
              <a:latin typeface="Chalkduster" panose="03050602040202020205" pitchFamily="66" charset="77"/>
            </a:endParaRP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Hast du schon einmal </a:t>
            </a: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gechattet?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004584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5561304B-B1D8-3548-8D49-6290E1DCA50B}"/>
              </a:ext>
            </a:extLst>
          </p:cNvPr>
          <p:cNvSpPr txBox="1"/>
          <p:nvPr/>
        </p:nvSpPr>
        <p:spPr>
          <a:xfrm>
            <a:off x="864270" y="2001904"/>
            <a:ext cx="75930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u="sng" dirty="0">
                <a:latin typeface="Chalkduster" panose="03050602040202020205" pitchFamily="66" charset="77"/>
              </a:rPr>
              <a:t>Frage:</a:t>
            </a:r>
          </a:p>
          <a:p>
            <a:pPr algn="ctr"/>
            <a:endParaRPr lang="de-DE" sz="3200" dirty="0">
              <a:latin typeface="Chalkduster" panose="03050602040202020205" pitchFamily="66" charset="77"/>
            </a:endParaRP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Hast du schon einmal </a:t>
            </a:r>
          </a:p>
          <a:p>
            <a:pPr algn="ctr"/>
            <a:r>
              <a:rPr lang="de-DE" sz="3200" dirty="0">
                <a:latin typeface="Chalkduster" panose="03050602040202020205" pitchFamily="66" charset="77"/>
              </a:rPr>
              <a:t>ein Video im Internet gesehen?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50166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E0339980-49A6-CC49-BB2F-84C869505C26}"/>
              </a:ext>
            </a:extLst>
          </p:cNvPr>
          <p:cNvSpPr txBox="1"/>
          <p:nvPr/>
        </p:nvSpPr>
        <p:spPr>
          <a:xfrm rot="20833005">
            <a:off x="244097" y="2526870"/>
            <a:ext cx="86249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>
                <a:latin typeface="Chalkduster" panose="03050602040202020205" pitchFamily="66" charset="77"/>
              </a:rPr>
              <a:t>Internet und Kinderseiten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949280"/>
            <a:ext cx="23479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17297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9pk2nrwEy28NaWlNll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UgV3KIBEqmKXpRFdhc0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q4OGDBJkKslAOPQpNPEQ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5</Words>
  <Application>Microsoft Office PowerPoint</Application>
  <PresentationFormat>Bildschirmpräsentation (4:3)</PresentationFormat>
  <Paragraphs>56</Paragraphs>
  <Slides>15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Offic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3-26T09:52:15Z</dcterms:created>
  <dcterms:modified xsi:type="dcterms:W3CDTF">2019-05-16T11:10:04Z</dcterms:modified>
</cp:coreProperties>
</file>